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3" r:id="rId2"/>
  </p:sldMasterIdLst>
  <p:sldIdLst>
    <p:sldId id="256" r:id="rId3"/>
    <p:sldId id="257" r:id="rId4"/>
    <p:sldId id="258" r:id="rId5"/>
    <p:sldId id="536" r:id="rId6"/>
    <p:sldId id="517" r:id="rId7"/>
    <p:sldId id="518" r:id="rId8"/>
    <p:sldId id="525" r:id="rId9"/>
    <p:sldId id="526" r:id="rId10"/>
    <p:sldId id="527" r:id="rId11"/>
    <p:sldId id="287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324" autoAdjust="0"/>
    <p:restoredTop sz="94660"/>
  </p:normalViewPr>
  <p:slideViewPr>
    <p:cSldViewPr>
      <p:cViewPr varScale="1">
        <p:scale>
          <a:sx n="73" d="100"/>
          <a:sy n="73" d="100"/>
        </p:scale>
        <p:origin x="768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4.jpe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9"/>
          <p:cNvGraphicFramePr>
            <a:graphicFrameLocks noChangeAspect="1"/>
          </p:cNvGraphicFramePr>
          <p:nvPr/>
        </p:nvGraphicFramePr>
        <p:xfrm>
          <a:off x="9753600" y="4602163"/>
          <a:ext cx="2438400" cy="1827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" name="Image" r:id="rId3" imgW="12990476" imgH="9739683" progId="">
                  <p:embed/>
                </p:oleObj>
              </mc:Choice>
              <mc:Fallback>
                <p:oleObj name="Image" r:id="rId3" imgW="12990476" imgH="9739683" progId="">
                  <p:embed/>
                  <p:pic>
                    <p:nvPicPr>
                      <p:cNvPr id="3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80000" t="73351"/>
                      <a:stretch>
                        <a:fillRect/>
                      </a:stretch>
                    </p:blipFill>
                    <p:spPr bwMode="auto">
                      <a:xfrm>
                        <a:off x="9753600" y="4602163"/>
                        <a:ext cx="2438400" cy="18272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7" descr="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29376"/>
            <a:ext cx="1219200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5600" y="228600"/>
            <a:ext cx="2641600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5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>
            <a:lvl1pPr algn="ctr">
              <a:defRPr sz="3600" smtClean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580514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A8BF0-C9CC-49D9-9B7D-C6D7B4BD8FEC}" type="datetimeFigureOut">
              <a:rPr lang="en-US" smtClean="0"/>
              <a:t>1/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741851-F51D-4D64-8E52-9B894B4622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34789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white"/>
                </a:solidFill>
              </a:rPr>
              <a:t>26/03/201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white">
                    <a:lumMod val="95000"/>
                  </a:prstClr>
                </a:solidFill>
              </a:rPr>
              <a:t>Ashok Leyland</a:t>
            </a:r>
            <a:endParaRPr lang="en-US" dirty="0">
              <a:solidFill>
                <a:prstClr val="white">
                  <a:lumMod val="9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03461E-5807-447B-B34C-202A61E0D7E3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0" y="1130300"/>
            <a:ext cx="12192000" cy="0"/>
          </a:xfrm>
          <a:prstGeom prst="line">
            <a:avLst/>
          </a:prstGeom>
          <a:noFill/>
          <a:ln w="76200">
            <a:solidFill>
              <a:srgbClr val="80808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137941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" y="152400"/>
            <a:ext cx="9753600" cy="7921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258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9"/>
          <p:cNvGraphicFramePr>
            <a:graphicFrameLocks noChangeAspect="1"/>
          </p:cNvGraphicFramePr>
          <p:nvPr/>
        </p:nvGraphicFramePr>
        <p:xfrm>
          <a:off x="9753600" y="4602163"/>
          <a:ext cx="2438400" cy="1827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6" name="Image" r:id="rId3" imgW="12990476" imgH="9739683" progId="Photoshop.Image.11">
                  <p:embed/>
                </p:oleObj>
              </mc:Choice>
              <mc:Fallback>
                <p:oleObj name="Image" r:id="rId3" imgW="12990476" imgH="9739683" progId="Photoshop.Image.11">
                  <p:embed/>
                  <p:pic>
                    <p:nvPicPr>
                      <p:cNvPr id="3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80000" t="73351"/>
                      <a:stretch>
                        <a:fillRect/>
                      </a:stretch>
                    </p:blipFill>
                    <p:spPr bwMode="auto">
                      <a:xfrm>
                        <a:off x="9753600" y="4602163"/>
                        <a:ext cx="2438400" cy="18272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7" descr="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29376"/>
            <a:ext cx="1219200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5600" y="228600"/>
            <a:ext cx="2641600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5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sz="3600" smtClean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02942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10" Type="http://schemas.openxmlformats.org/officeDocument/2006/relationships/image" Target="../media/image3.png"/><Relationship Id="rId4" Type="http://schemas.openxmlformats.org/officeDocument/2006/relationships/vmlDrawing" Target="../drawings/vmlDrawing1.v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2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2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0273460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26" name="Object 9"/>
          <p:cNvGraphicFramePr>
            <a:graphicFrameLocks noChangeAspect="1"/>
          </p:cNvGraphicFramePr>
          <p:nvPr/>
        </p:nvGraphicFramePr>
        <p:xfrm>
          <a:off x="9753600" y="5030788"/>
          <a:ext cx="2438400" cy="1827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5" name="Image" r:id="rId8" imgW="12990476" imgH="9739683" progId="">
                  <p:embed/>
                </p:oleObj>
              </mc:Choice>
              <mc:Fallback>
                <p:oleObj name="Image" r:id="rId8" imgW="12990476" imgH="9739683" progId="">
                  <p:embed/>
                  <p:pic>
                    <p:nvPicPr>
                      <p:cNvPr id="1026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80000" t="73351"/>
                      <a:stretch>
                        <a:fillRect/>
                      </a:stretch>
                    </p:blipFill>
                    <p:spPr bwMode="auto">
                      <a:xfrm>
                        <a:off x="9753600" y="5030788"/>
                        <a:ext cx="2438400" cy="18272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BBE0E3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20800" y="304800"/>
            <a:ext cx="78232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320800" y="1371600"/>
            <a:ext cx="9042400" cy="472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35" name="Line 11"/>
          <p:cNvSpPr>
            <a:spLocks noChangeShapeType="1"/>
          </p:cNvSpPr>
          <p:nvPr/>
        </p:nvSpPr>
        <p:spPr bwMode="auto">
          <a:xfrm>
            <a:off x="0" y="1130300"/>
            <a:ext cx="12192000" cy="0"/>
          </a:xfrm>
          <a:prstGeom prst="line">
            <a:avLst/>
          </a:prstGeom>
          <a:noFill/>
          <a:ln w="76200">
            <a:solidFill>
              <a:srgbClr val="80808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800">
              <a:solidFill>
                <a:srgbClr val="000000"/>
              </a:solidFill>
            </a:endParaRPr>
          </a:p>
        </p:txBody>
      </p:sp>
      <p:pic>
        <p:nvPicPr>
          <p:cNvPr id="1031" name="Picture 8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5600" y="228600"/>
            <a:ext cx="2641600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203200" y="6416676"/>
            <a:ext cx="508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36741851-F51D-4D64-8E52-9B894B4622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8411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600">
          <a:solidFill>
            <a:schemeClr val="tx1"/>
          </a:solidFill>
          <a:latin typeface="Calibri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Calibri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600">
          <a:solidFill>
            <a:schemeClr val="tx1"/>
          </a:solidFill>
          <a:latin typeface="Calibri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600">
          <a:solidFill>
            <a:schemeClr val="tx1"/>
          </a:solidFill>
          <a:latin typeface="Calibri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5273761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219200" y="309563"/>
            <a:ext cx="9753600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219200" y="1447801"/>
            <a:ext cx="9753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1600" y="6553200"/>
            <a:ext cx="1219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bg1"/>
                </a:solidFill>
                <a:cs typeface="+mn-cs"/>
              </a:defRPr>
            </a:lvl1pPr>
          </a:lstStyle>
          <a:p>
            <a:pPr>
              <a:defRPr/>
            </a:pPr>
            <a:r>
              <a:rPr lang="en-US">
                <a:solidFill>
                  <a:prstClr val="white"/>
                </a:solidFill>
              </a:rPr>
              <a:t>26/03/201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22400" y="6537326"/>
            <a:ext cx="3860800" cy="244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bg1">
                    <a:lumMod val="95000"/>
                  </a:schemeClr>
                </a:solidFill>
                <a:cs typeface="+mn-cs"/>
              </a:defRPr>
            </a:lvl1pPr>
          </a:lstStyle>
          <a:p>
            <a:pPr>
              <a:defRPr/>
            </a:pPr>
            <a:r>
              <a:rPr lang="en-US">
                <a:solidFill>
                  <a:prstClr val="white">
                    <a:lumMod val="95000"/>
                  </a:prstClr>
                </a:solidFill>
              </a:rPr>
              <a:t>Ashok Leyland</a:t>
            </a:r>
            <a:endParaRPr lang="en-US" dirty="0">
              <a:solidFill>
                <a:prstClr val="white">
                  <a:lumMod val="95000"/>
                </a:prstClr>
              </a:solidFill>
            </a:endParaRPr>
          </a:p>
        </p:txBody>
      </p:sp>
      <p:grpSp>
        <p:nvGrpSpPr>
          <p:cNvPr id="1030" name="Group 7"/>
          <p:cNvGrpSpPr>
            <a:grpSpLocks/>
          </p:cNvGrpSpPr>
          <p:nvPr/>
        </p:nvGrpSpPr>
        <p:grpSpPr bwMode="auto">
          <a:xfrm>
            <a:off x="0" y="228600"/>
            <a:ext cx="12192000" cy="901700"/>
            <a:chOff x="0" y="228600"/>
            <a:chExt cx="9144000" cy="901700"/>
          </a:xfrm>
        </p:grpSpPr>
        <p:sp>
          <p:nvSpPr>
            <p:cNvPr id="1033" name="Line 11"/>
            <p:cNvSpPr>
              <a:spLocks noChangeShapeType="1"/>
            </p:cNvSpPr>
            <p:nvPr/>
          </p:nvSpPr>
          <p:spPr bwMode="auto">
            <a:xfrm>
              <a:off x="0" y="1130300"/>
              <a:ext cx="9144000" cy="0"/>
            </a:xfrm>
            <a:prstGeom prst="line">
              <a:avLst/>
            </a:prstGeom>
            <a:noFill/>
            <a:ln w="762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pic>
          <p:nvPicPr>
            <p:cNvPr id="1034" name="Picture 8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4200" y="228600"/>
              <a:ext cx="1981200" cy="585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45600" y="6537326"/>
            <a:ext cx="2844800" cy="244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1"/>
                </a:solidFill>
                <a:cs typeface="+mn-cs"/>
              </a:defRPr>
            </a:lvl1pPr>
          </a:lstStyle>
          <a:p>
            <a:pPr>
              <a:defRPr/>
            </a:pPr>
            <a:fld id="{7DEB7D41-1B34-40F2-B097-CD29A21F5FC6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360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7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8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9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Grp="1" noChangeArrowheads="1"/>
          </p:cNvSpPr>
          <p:nvPr>
            <p:ph type="ctrTitle"/>
          </p:nvPr>
        </p:nvSpPr>
        <p:spPr>
          <a:xfrm>
            <a:off x="2362200" y="2895600"/>
            <a:ext cx="7772400" cy="1806714"/>
          </a:xfrm>
        </p:spPr>
        <p:txBody>
          <a:bodyPr/>
          <a:lstStyle/>
          <a:p>
            <a:r>
              <a:rPr lang="en-US" dirty="0"/>
              <a:t>Business Review </a:t>
            </a:r>
            <a:br>
              <a:rPr lang="en-US" dirty="0"/>
            </a:br>
            <a:r>
              <a:rPr lang="en-US" dirty="0"/>
              <a:t>AO – CHENNAI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20720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286000"/>
            <a:ext cx="10363200" cy="1470025"/>
          </a:xfrm>
        </p:spPr>
        <p:txBody>
          <a:bodyPr/>
          <a:lstStyle/>
          <a:p>
            <a:pPr algn="ctr"/>
            <a:r>
              <a:rPr lang="en-US" dirty="0"/>
              <a:t>Thank you  </a:t>
            </a:r>
          </a:p>
        </p:txBody>
      </p:sp>
    </p:spTree>
    <p:extLst>
      <p:ext uri="{BB962C8B-B14F-4D97-AF65-F5344CB8AC3E}">
        <p14:creationId xmlns:p14="http://schemas.microsoft.com/office/powerpoint/2010/main" val="33762400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 txBox="1">
            <a:spLocks noChangeArrowheads="1"/>
          </p:cNvSpPr>
          <p:nvPr/>
        </p:nvSpPr>
        <p:spPr bwMode="auto">
          <a:xfrm>
            <a:off x="0" y="152400"/>
            <a:ext cx="7992888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8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nth Sales –Offtake</a:t>
            </a: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4F65C16B-5BD8-4C6C-86AA-C324111EB94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94772586"/>
              </p:ext>
            </p:extLst>
          </p:nvPr>
        </p:nvGraphicFramePr>
        <p:xfrm>
          <a:off x="304800" y="1220008"/>
          <a:ext cx="11734800" cy="5637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92" name="Worksheet" r:id="rId3" imgW="11420337" imgH="5486400" progId="Excel.Sheet.12">
                  <p:embed/>
                </p:oleObj>
              </mc:Choice>
              <mc:Fallback>
                <p:oleObj name="Worksheet" r:id="rId3" imgW="11420337" imgH="5486400" progId="Excel.Sheet.12">
                  <p:embed/>
                  <p:pic>
                    <p:nvPicPr>
                      <p:cNvPr id="2" name="Object 1">
                        <a:extLst>
                          <a:ext uri="{FF2B5EF4-FFF2-40B4-BE49-F238E27FC236}">
                            <a16:creationId xmlns:a16="http://schemas.microsoft.com/office/drawing/2014/main" id="{4F65C16B-5BD8-4C6C-86AA-C324111EB9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04800" y="1220008"/>
                        <a:ext cx="11734800" cy="56379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61293492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 txBox="1">
            <a:spLocks noChangeArrowheads="1"/>
          </p:cNvSpPr>
          <p:nvPr/>
        </p:nvSpPr>
        <p:spPr bwMode="auto">
          <a:xfrm>
            <a:off x="228600" y="152400"/>
            <a:ext cx="63246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8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nth Sales – Retail</a:t>
            </a: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4F65C16B-5BD8-4C6C-86AA-C324111EB94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03877259"/>
              </p:ext>
            </p:extLst>
          </p:nvPr>
        </p:nvGraphicFramePr>
        <p:xfrm>
          <a:off x="304800" y="1220008"/>
          <a:ext cx="11734800" cy="5637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7" name="Worksheet" r:id="rId3" imgW="11420337" imgH="5486400" progId="Excel.Sheet.12">
                  <p:embed/>
                </p:oleObj>
              </mc:Choice>
              <mc:Fallback>
                <p:oleObj name="Worksheet" r:id="rId3" imgW="11420337" imgH="5486400" progId="Excel.Sheet.12">
                  <p:embed/>
                  <p:pic>
                    <p:nvPicPr>
                      <p:cNvPr id="2" name="Object 1">
                        <a:extLst>
                          <a:ext uri="{FF2B5EF4-FFF2-40B4-BE49-F238E27FC236}">
                            <a16:creationId xmlns:a16="http://schemas.microsoft.com/office/drawing/2014/main" id="{4F65C16B-5BD8-4C6C-86AA-C324111EB9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04800" y="1220008"/>
                        <a:ext cx="11734800" cy="56379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47912197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034F925D-8992-4FEA-80B1-86102B1DDA36}"/>
              </a:ext>
            </a:extLst>
          </p:cNvPr>
          <p:cNvSpPr txBox="1"/>
          <p:nvPr/>
        </p:nvSpPr>
        <p:spPr>
          <a:xfrm>
            <a:off x="3657600" y="3429000"/>
            <a:ext cx="4876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uses</a:t>
            </a:r>
          </a:p>
        </p:txBody>
      </p:sp>
    </p:spTree>
    <p:extLst>
      <p:ext uri="{BB962C8B-B14F-4D97-AF65-F5344CB8AC3E}">
        <p14:creationId xmlns:p14="http://schemas.microsoft.com/office/powerpoint/2010/main" val="20278701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 txBox="1">
            <a:spLocks noChangeArrowheads="1"/>
          </p:cNvSpPr>
          <p:nvPr/>
        </p:nvSpPr>
        <p:spPr bwMode="auto">
          <a:xfrm>
            <a:off x="340568" y="188640"/>
            <a:ext cx="75438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DV Passenger</a:t>
            </a:r>
            <a:endParaRPr lang="en-US" sz="2800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02553554"/>
              </p:ext>
            </p:extLst>
          </p:nvPr>
        </p:nvGraphicFramePr>
        <p:xfrm>
          <a:off x="609600" y="1524000"/>
          <a:ext cx="10666413" cy="46497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61" name="Worksheet" r:id="rId3" imgW="6839065" imgH="2981473" progId="Excel.Sheet.12">
                  <p:embed/>
                </p:oleObj>
              </mc:Choice>
              <mc:Fallback>
                <p:oleObj name="Worksheet" r:id="rId3" imgW="6839065" imgH="2981473" progId="Excel.Sheet.12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09600" y="1524000"/>
                        <a:ext cx="10666413" cy="46497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840490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 txBox="1">
            <a:spLocks noChangeArrowheads="1"/>
          </p:cNvSpPr>
          <p:nvPr/>
        </p:nvSpPr>
        <p:spPr bwMode="auto">
          <a:xfrm>
            <a:off x="340568" y="188640"/>
            <a:ext cx="75438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CV Passenger</a:t>
            </a:r>
            <a:endParaRPr lang="en-US" sz="2800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27076868"/>
              </p:ext>
            </p:extLst>
          </p:nvPr>
        </p:nvGraphicFramePr>
        <p:xfrm>
          <a:off x="609600" y="1524000"/>
          <a:ext cx="10666413" cy="46497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85" name="Worksheet" r:id="rId3" imgW="6839065" imgH="2981473" progId="Excel.Sheet.12">
                  <p:embed/>
                </p:oleObj>
              </mc:Choice>
              <mc:Fallback>
                <p:oleObj name="Worksheet" r:id="rId3" imgW="6839065" imgH="2981473" progId="Excel.Sheet.12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09600" y="1524000"/>
                        <a:ext cx="10666413" cy="46497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052149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2E0840C-6B67-44EB-A0FD-3B8FA357C7FB}"/>
              </a:ext>
            </a:extLst>
          </p:cNvPr>
          <p:cNvSpPr txBox="1"/>
          <p:nvPr/>
        </p:nvSpPr>
        <p:spPr>
          <a:xfrm>
            <a:off x="381000" y="457200"/>
            <a:ext cx="7772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eat Map – Buses FY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1-22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7733785"/>
              </p:ext>
            </p:extLst>
          </p:nvPr>
        </p:nvGraphicFramePr>
        <p:xfrm>
          <a:off x="1320797" y="2350511"/>
          <a:ext cx="9042407" cy="2766577"/>
        </p:xfrm>
        <a:graphic>
          <a:graphicData uri="http://schemas.openxmlformats.org/drawingml/2006/table">
            <a:tbl>
              <a:tblPr/>
              <a:tblGrid>
                <a:gridCol w="1030925">
                  <a:extLst>
                    <a:ext uri="{9D8B030D-6E8A-4147-A177-3AD203B41FA5}">
                      <a16:colId xmlns:a16="http://schemas.microsoft.com/office/drawing/2014/main" val="2410089251"/>
                    </a:ext>
                  </a:extLst>
                </a:gridCol>
                <a:gridCol w="386597">
                  <a:extLst>
                    <a:ext uri="{9D8B030D-6E8A-4147-A177-3AD203B41FA5}">
                      <a16:colId xmlns:a16="http://schemas.microsoft.com/office/drawing/2014/main" val="114298844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1595923514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2921976951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3984414338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321883872"/>
                    </a:ext>
                  </a:extLst>
                </a:gridCol>
                <a:gridCol w="612607">
                  <a:extLst>
                    <a:ext uri="{9D8B030D-6E8A-4147-A177-3AD203B41FA5}">
                      <a16:colId xmlns:a16="http://schemas.microsoft.com/office/drawing/2014/main" val="1522802685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2424303806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2714040342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3808606846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3718322583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2560642463"/>
                    </a:ext>
                  </a:extLst>
                </a:gridCol>
                <a:gridCol w="600712">
                  <a:extLst>
                    <a:ext uri="{9D8B030D-6E8A-4147-A177-3AD203B41FA5}">
                      <a16:colId xmlns:a16="http://schemas.microsoft.com/office/drawing/2014/main" val="469914158"/>
                    </a:ext>
                  </a:extLst>
                </a:gridCol>
                <a:gridCol w="344963">
                  <a:extLst>
                    <a:ext uri="{9D8B030D-6E8A-4147-A177-3AD203B41FA5}">
                      <a16:colId xmlns:a16="http://schemas.microsoft.com/office/drawing/2014/main" val="3891737936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2341788290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1374985384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2164286911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1084231707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3409912725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2984231414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1026336665"/>
                    </a:ext>
                  </a:extLst>
                </a:gridCol>
                <a:gridCol w="356859">
                  <a:extLst>
                    <a:ext uri="{9D8B030D-6E8A-4147-A177-3AD203B41FA5}">
                      <a16:colId xmlns:a16="http://schemas.microsoft.com/office/drawing/2014/main" val="1944027482"/>
                    </a:ext>
                  </a:extLst>
                </a:gridCol>
              </a:tblGrid>
              <a:tr h="51710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gment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onamalle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dhavaram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dappai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llore 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llupuram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ndicherry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O Chennai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6458151"/>
                  </a:ext>
                </a:extLst>
              </a:tr>
              <a:tr h="24963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DV Bus</a:t>
                      </a:r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9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4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6696826"/>
                  </a:ext>
                </a:extLst>
              </a:tr>
              <a:tr h="234183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.8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1433015"/>
                  </a:ext>
                </a:extLst>
              </a:tr>
              <a:tr h="255581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2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1427152"/>
                  </a:ext>
                </a:extLst>
              </a:tr>
              <a:tr h="24963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V Bus</a:t>
                      </a:r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9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9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2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8621808"/>
                  </a:ext>
                </a:extLst>
              </a:tr>
              <a:tr h="249637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3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6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8857817"/>
                  </a:ext>
                </a:extLst>
              </a:tr>
              <a:tr h="255581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8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7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5683977"/>
                  </a:ext>
                </a:extLst>
              </a:tr>
              <a:tr h="24963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s Total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.9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3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350787"/>
                  </a:ext>
                </a:extLst>
              </a:tr>
              <a:tr h="249637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.9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.4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.7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3709640"/>
                  </a:ext>
                </a:extLst>
              </a:tr>
              <a:tr h="255581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87281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52065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2E0840C-6B67-44EB-A0FD-3B8FA357C7FB}"/>
              </a:ext>
            </a:extLst>
          </p:cNvPr>
          <p:cNvSpPr txBox="1"/>
          <p:nvPr/>
        </p:nvSpPr>
        <p:spPr>
          <a:xfrm>
            <a:off x="381000" y="457200"/>
            <a:ext cx="7772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eat Map – Buses YTD FY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2-23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5526840"/>
              </p:ext>
            </p:extLst>
          </p:nvPr>
        </p:nvGraphicFramePr>
        <p:xfrm>
          <a:off x="1219200" y="1981200"/>
          <a:ext cx="9906005" cy="3581401"/>
        </p:xfrm>
        <a:graphic>
          <a:graphicData uri="http://schemas.openxmlformats.org/drawingml/2006/table">
            <a:tbl>
              <a:tblPr/>
              <a:tblGrid>
                <a:gridCol w="1129383">
                  <a:extLst>
                    <a:ext uri="{9D8B030D-6E8A-4147-A177-3AD203B41FA5}">
                      <a16:colId xmlns:a16="http://schemas.microsoft.com/office/drawing/2014/main" val="1567037917"/>
                    </a:ext>
                  </a:extLst>
                </a:gridCol>
                <a:gridCol w="423519">
                  <a:extLst>
                    <a:ext uri="{9D8B030D-6E8A-4147-A177-3AD203B41FA5}">
                      <a16:colId xmlns:a16="http://schemas.microsoft.com/office/drawing/2014/main" val="437136744"/>
                    </a:ext>
                  </a:extLst>
                </a:gridCol>
                <a:gridCol w="390941">
                  <a:extLst>
                    <a:ext uri="{9D8B030D-6E8A-4147-A177-3AD203B41FA5}">
                      <a16:colId xmlns:a16="http://schemas.microsoft.com/office/drawing/2014/main" val="453431360"/>
                    </a:ext>
                  </a:extLst>
                </a:gridCol>
                <a:gridCol w="390941">
                  <a:extLst>
                    <a:ext uri="{9D8B030D-6E8A-4147-A177-3AD203B41FA5}">
                      <a16:colId xmlns:a16="http://schemas.microsoft.com/office/drawing/2014/main" val="1327142372"/>
                    </a:ext>
                  </a:extLst>
                </a:gridCol>
                <a:gridCol w="390941">
                  <a:extLst>
                    <a:ext uri="{9D8B030D-6E8A-4147-A177-3AD203B41FA5}">
                      <a16:colId xmlns:a16="http://schemas.microsoft.com/office/drawing/2014/main" val="2828278400"/>
                    </a:ext>
                  </a:extLst>
                </a:gridCol>
                <a:gridCol w="390941">
                  <a:extLst>
                    <a:ext uri="{9D8B030D-6E8A-4147-A177-3AD203B41FA5}">
                      <a16:colId xmlns:a16="http://schemas.microsoft.com/office/drawing/2014/main" val="1035049093"/>
                    </a:ext>
                  </a:extLst>
                </a:gridCol>
                <a:gridCol w="671114">
                  <a:extLst>
                    <a:ext uri="{9D8B030D-6E8A-4147-A177-3AD203B41FA5}">
                      <a16:colId xmlns:a16="http://schemas.microsoft.com/office/drawing/2014/main" val="1819892728"/>
                    </a:ext>
                  </a:extLst>
                </a:gridCol>
                <a:gridCol w="390941">
                  <a:extLst>
                    <a:ext uri="{9D8B030D-6E8A-4147-A177-3AD203B41FA5}">
                      <a16:colId xmlns:a16="http://schemas.microsoft.com/office/drawing/2014/main" val="1613938142"/>
                    </a:ext>
                  </a:extLst>
                </a:gridCol>
                <a:gridCol w="390941">
                  <a:extLst>
                    <a:ext uri="{9D8B030D-6E8A-4147-A177-3AD203B41FA5}">
                      <a16:colId xmlns:a16="http://schemas.microsoft.com/office/drawing/2014/main" val="3151889626"/>
                    </a:ext>
                  </a:extLst>
                </a:gridCol>
                <a:gridCol w="390941">
                  <a:extLst>
                    <a:ext uri="{9D8B030D-6E8A-4147-A177-3AD203B41FA5}">
                      <a16:colId xmlns:a16="http://schemas.microsoft.com/office/drawing/2014/main" val="808870114"/>
                    </a:ext>
                  </a:extLst>
                </a:gridCol>
                <a:gridCol w="390941">
                  <a:extLst>
                    <a:ext uri="{9D8B030D-6E8A-4147-A177-3AD203B41FA5}">
                      <a16:colId xmlns:a16="http://schemas.microsoft.com/office/drawing/2014/main" val="3550849071"/>
                    </a:ext>
                  </a:extLst>
                </a:gridCol>
                <a:gridCol w="390941">
                  <a:extLst>
                    <a:ext uri="{9D8B030D-6E8A-4147-A177-3AD203B41FA5}">
                      <a16:colId xmlns:a16="http://schemas.microsoft.com/office/drawing/2014/main" val="686452652"/>
                    </a:ext>
                  </a:extLst>
                </a:gridCol>
                <a:gridCol w="658083">
                  <a:extLst>
                    <a:ext uri="{9D8B030D-6E8A-4147-A177-3AD203B41FA5}">
                      <a16:colId xmlns:a16="http://schemas.microsoft.com/office/drawing/2014/main" val="3107357494"/>
                    </a:ext>
                  </a:extLst>
                </a:gridCol>
                <a:gridCol w="377909">
                  <a:extLst>
                    <a:ext uri="{9D8B030D-6E8A-4147-A177-3AD203B41FA5}">
                      <a16:colId xmlns:a16="http://schemas.microsoft.com/office/drawing/2014/main" val="2557260613"/>
                    </a:ext>
                  </a:extLst>
                </a:gridCol>
                <a:gridCol w="390941">
                  <a:extLst>
                    <a:ext uri="{9D8B030D-6E8A-4147-A177-3AD203B41FA5}">
                      <a16:colId xmlns:a16="http://schemas.microsoft.com/office/drawing/2014/main" val="2988282122"/>
                    </a:ext>
                  </a:extLst>
                </a:gridCol>
                <a:gridCol w="390941">
                  <a:extLst>
                    <a:ext uri="{9D8B030D-6E8A-4147-A177-3AD203B41FA5}">
                      <a16:colId xmlns:a16="http://schemas.microsoft.com/office/drawing/2014/main" val="51460519"/>
                    </a:ext>
                  </a:extLst>
                </a:gridCol>
                <a:gridCol w="390941">
                  <a:extLst>
                    <a:ext uri="{9D8B030D-6E8A-4147-A177-3AD203B41FA5}">
                      <a16:colId xmlns:a16="http://schemas.microsoft.com/office/drawing/2014/main" val="2111564737"/>
                    </a:ext>
                  </a:extLst>
                </a:gridCol>
                <a:gridCol w="390941">
                  <a:extLst>
                    <a:ext uri="{9D8B030D-6E8A-4147-A177-3AD203B41FA5}">
                      <a16:colId xmlns:a16="http://schemas.microsoft.com/office/drawing/2014/main" val="2097153931"/>
                    </a:ext>
                  </a:extLst>
                </a:gridCol>
                <a:gridCol w="390941">
                  <a:extLst>
                    <a:ext uri="{9D8B030D-6E8A-4147-A177-3AD203B41FA5}">
                      <a16:colId xmlns:a16="http://schemas.microsoft.com/office/drawing/2014/main" val="1616449908"/>
                    </a:ext>
                  </a:extLst>
                </a:gridCol>
                <a:gridCol w="390941">
                  <a:extLst>
                    <a:ext uri="{9D8B030D-6E8A-4147-A177-3AD203B41FA5}">
                      <a16:colId xmlns:a16="http://schemas.microsoft.com/office/drawing/2014/main" val="1272548456"/>
                    </a:ext>
                  </a:extLst>
                </a:gridCol>
                <a:gridCol w="390941">
                  <a:extLst>
                    <a:ext uri="{9D8B030D-6E8A-4147-A177-3AD203B41FA5}">
                      <a16:colId xmlns:a16="http://schemas.microsoft.com/office/drawing/2014/main" val="1241904635"/>
                    </a:ext>
                  </a:extLst>
                </a:gridCol>
                <a:gridCol w="390941">
                  <a:extLst>
                    <a:ext uri="{9D8B030D-6E8A-4147-A177-3AD203B41FA5}">
                      <a16:colId xmlns:a16="http://schemas.microsoft.com/office/drawing/2014/main" val="1887655182"/>
                    </a:ext>
                  </a:extLst>
                </a:gridCol>
              </a:tblGrid>
              <a:tr h="66940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gment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onamalle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dhavaram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dappai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llore 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llupuram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ndicherry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O Chennai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1642064"/>
                  </a:ext>
                </a:extLst>
              </a:tr>
              <a:tr h="323161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DV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6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6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4125151"/>
                  </a:ext>
                </a:extLst>
              </a:tr>
              <a:tr h="303623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5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6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1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6080953"/>
                  </a:ext>
                </a:extLst>
              </a:tr>
              <a:tr h="330856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.7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8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5797244"/>
                  </a:ext>
                </a:extLst>
              </a:tr>
              <a:tr h="323161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V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4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8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3856977"/>
                  </a:ext>
                </a:extLst>
              </a:tr>
              <a:tr h="323161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3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3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9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3775897"/>
                  </a:ext>
                </a:extLst>
              </a:tr>
              <a:tr h="330856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.3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9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.9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3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2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6084613"/>
                  </a:ext>
                </a:extLst>
              </a:tr>
              <a:tr h="323161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s Total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9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1965097"/>
                  </a:ext>
                </a:extLst>
              </a:tr>
              <a:tr h="323161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5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9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2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E4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N" sz="15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5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7156781"/>
                  </a:ext>
                </a:extLst>
              </a:tr>
              <a:tr h="330856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44" marR="5944" marT="5944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</a:t>
                      </a:r>
                    </a:p>
                  </a:txBody>
                  <a:tcPr marL="5944" marR="5944" marT="59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30684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36029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DBEF09E5-820A-46C7-B6D5-916AB3F5B342}"/>
              </a:ext>
            </a:extLst>
          </p:cNvPr>
          <p:cNvSpPr txBox="1"/>
          <p:nvPr/>
        </p:nvSpPr>
        <p:spPr>
          <a:xfrm>
            <a:off x="685800" y="304800"/>
            <a:ext cx="8610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ucket Analysis - Buses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558870"/>
              </p:ext>
            </p:extLst>
          </p:nvPr>
        </p:nvGraphicFramePr>
        <p:xfrm>
          <a:off x="685800" y="1371600"/>
          <a:ext cx="10868297" cy="2566050"/>
        </p:xfrm>
        <a:graphic>
          <a:graphicData uri="http://schemas.openxmlformats.org/drawingml/2006/table">
            <a:tbl>
              <a:tblPr/>
              <a:tblGrid>
                <a:gridCol w="514095">
                  <a:extLst>
                    <a:ext uri="{9D8B030D-6E8A-4147-A177-3AD203B41FA5}">
                      <a16:colId xmlns:a16="http://schemas.microsoft.com/office/drawing/2014/main" val="3593613460"/>
                    </a:ext>
                  </a:extLst>
                </a:gridCol>
                <a:gridCol w="1060322">
                  <a:extLst>
                    <a:ext uri="{9D8B030D-6E8A-4147-A177-3AD203B41FA5}">
                      <a16:colId xmlns:a16="http://schemas.microsoft.com/office/drawing/2014/main" val="3226972167"/>
                    </a:ext>
                  </a:extLst>
                </a:gridCol>
                <a:gridCol w="514095">
                  <a:extLst>
                    <a:ext uri="{9D8B030D-6E8A-4147-A177-3AD203B41FA5}">
                      <a16:colId xmlns:a16="http://schemas.microsoft.com/office/drawing/2014/main" val="1445319267"/>
                    </a:ext>
                  </a:extLst>
                </a:gridCol>
                <a:gridCol w="514095">
                  <a:extLst>
                    <a:ext uri="{9D8B030D-6E8A-4147-A177-3AD203B41FA5}">
                      <a16:colId xmlns:a16="http://schemas.microsoft.com/office/drawing/2014/main" val="3668874109"/>
                    </a:ext>
                  </a:extLst>
                </a:gridCol>
                <a:gridCol w="514095">
                  <a:extLst>
                    <a:ext uri="{9D8B030D-6E8A-4147-A177-3AD203B41FA5}">
                      <a16:colId xmlns:a16="http://schemas.microsoft.com/office/drawing/2014/main" val="662501100"/>
                    </a:ext>
                  </a:extLst>
                </a:gridCol>
                <a:gridCol w="706882">
                  <a:extLst>
                    <a:ext uri="{9D8B030D-6E8A-4147-A177-3AD203B41FA5}">
                      <a16:colId xmlns:a16="http://schemas.microsoft.com/office/drawing/2014/main" val="2599811908"/>
                    </a:ext>
                  </a:extLst>
                </a:gridCol>
                <a:gridCol w="1076387">
                  <a:extLst>
                    <a:ext uri="{9D8B030D-6E8A-4147-A177-3AD203B41FA5}">
                      <a16:colId xmlns:a16="http://schemas.microsoft.com/office/drawing/2014/main" val="451862970"/>
                    </a:ext>
                  </a:extLst>
                </a:gridCol>
                <a:gridCol w="666717">
                  <a:extLst>
                    <a:ext uri="{9D8B030D-6E8A-4147-A177-3AD203B41FA5}">
                      <a16:colId xmlns:a16="http://schemas.microsoft.com/office/drawing/2014/main" val="1805428811"/>
                    </a:ext>
                  </a:extLst>
                </a:gridCol>
                <a:gridCol w="498029">
                  <a:extLst>
                    <a:ext uri="{9D8B030D-6E8A-4147-A177-3AD203B41FA5}">
                      <a16:colId xmlns:a16="http://schemas.microsoft.com/office/drawing/2014/main" val="1838607266"/>
                    </a:ext>
                  </a:extLst>
                </a:gridCol>
                <a:gridCol w="602456">
                  <a:extLst>
                    <a:ext uri="{9D8B030D-6E8A-4147-A177-3AD203B41FA5}">
                      <a16:colId xmlns:a16="http://schemas.microsoft.com/office/drawing/2014/main" val="1560227128"/>
                    </a:ext>
                  </a:extLst>
                </a:gridCol>
                <a:gridCol w="1068355">
                  <a:extLst>
                    <a:ext uri="{9D8B030D-6E8A-4147-A177-3AD203B41FA5}">
                      <a16:colId xmlns:a16="http://schemas.microsoft.com/office/drawing/2014/main" val="2440634168"/>
                    </a:ext>
                  </a:extLst>
                </a:gridCol>
                <a:gridCol w="698848">
                  <a:extLst>
                    <a:ext uri="{9D8B030D-6E8A-4147-A177-3AD203B41FA5}">
                      <a16:colId xmlns:a16="http://schemas.microsoft.com/office/drawing/2014/main" val="539340340"/>
                    </a:ext>
                  </a:extLst>
                </a:gridCol>
                <a:gridCol w="722947">
                  <a:extLst>
                    <a:ext uri="{9D8B030D-6E8A-4147-A177-3AD203B41FA5}">
                      <a16:colId xmlns:a16="http://schemas.microsoft.com/office/drawing/2014/main" val="2326992027"/>
                    </a:ext>
                  </a:extLst>
                </a:gridCol>
                <a:gridCol w="610489">
                  <a:extLst>
                    <a:ext uri="{9D8B030D-6E8A-4147-A177-3AD203B41FA5}">
                      <a16:colId xmlns:a16="http://schemas.microsoft.com/office/drawing/2014/main" val="1626927339"/>
                    </a:ext>
                  </a:extLst>
                </a:gridCol>
                <a:gridCol w="586390">
                  <a:extLst>
                    <a:ext uri="{9D8B030D-6E8A-4147-A177-3AD203B41FA5}">
                      <a16:colId xmlns:a16="http://schemas.microsoft.com/office/drawing/2014/main" val="4027180168"/>
                    </a:ext>
                  </a:extLst>
                </a:gridCol>
                <a:gridCol w="514095">
                  <a:extLst>
                    <a:ext uri="{9D8B030D-6E8A-4147-A177-3AD203B41FA5}">
                      <a16:colId xmlns:a16="http://schemas.microsoft.com/office/drawing/2014/main" val="548672563"/>
                    </a:ext>
                  </a:extLst>
                </a:gridCol>
              </a:tblGrid>
              <a:tr h="236764">
                <a:tc gridSpan="16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 22  MDV &amp; ICV Buses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3509309"/>
                  </a:ext>
                </a:extLst>
              </a:tr>
              <a:tr h="179614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 NO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NCH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11"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CKET STATUS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TIV</a:t>
                      </a:r>
                    </a:p>
                  </a:txBody>
                  <a:tcPr marL="6675" marR="6675" marT="66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 </a:t>
                      </a:r>
                    </a:p>
                  </a:txBody>
                  <a:tcPr marL="6675" marR="6675" marT="66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ket Coverage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7970083"/>
                  </a:ext>
                </a:extLst>
              </a:tr>
              <a:tr h="179614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1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2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3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7"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4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5 [AL]</a:t>
                      </a:r>
                    </a:p>
                  </a:txBody>
                  <a:tcPr marL="6675" marR="6675" marT="667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638150"/>
                  </a:ext>
                </a:extLst>
              </a:tr>
              <a:tr h="179614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 LOYAL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RIVER PREFERENCE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OTIONAL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ANCE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CE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4 TOTAL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2790539"/>
                  </a:ext>
                </a:extLst>
              </a:tr>
              <a:tr h="16328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PME 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%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1060309"/>
                  </a:ext>
                </a:extLst>
              </a:tr>
              <a:tr h="16328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MADHAVARAM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6262184"/>
                  </a:ext>
                </a:extLst>
              </a:tr>
              <a:tr h="16328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PADAPPAI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4868994"/>
                  </a:ext>
                </a:extLst>
              </a:tr>
              <a:tr h="16328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VELLORE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%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2813410"/>
                  </a:ext>
                </a:extLst>
              </a:tr>
              <a:tr h="16328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TV MALAI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2688612"/>
                  </a:ext>
                </a:extLst>
              </a:tr>
              <a:tr h="16328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VILLUPURAM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%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8006168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PONDY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8678549"/>
                  </a:ext>
                </a:extLst>
              </a:tr>
              <a:tr h="179614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%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1675978"/>
                  </a:ext>
                </a:extLst>
              </a:tr>
              <a:tr h="179614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CENTAGE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AAAA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76752"/>
                  </a:ext>
                </a:extLst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8942499"/>
              </p:ext>
            </p:extLst>
          </p:nvPr>
        </p:nvGraphicFramePr>
        <p:xfrm>
          <a:off x="677093" y="4114800"/>
          <a:ext cx="10877004" cy="2630820"/>
        </p:xfrm>
        <a:graphic>
          <a:graphicData uri="http://schemas.openxmlformats.org/drawingml/2006/table">
            <a:tbl>
              <a:tblPr/>
              <a:tblGrid>
                <a:gridCol w="514507">
                  <a:extLst>
                    <a:ext uri="{9D8B030D-6E8A-4147-A177-3AD203B41FA5}">
                      <a16:colId xmlns:a16="http://schemas.microsoft.com/office/drawing/2014/main" val="571269870"/>
                    </a:ext>
                  </a:extLst>
                </a:gridCol>
                <a:gridCol w="1061171">
                  <a:extLst>
                    <a:ext uri="{9D8B030D-6E8A-4147-A177-3AD203B41FA5}">
                      <a16:colId xmlns:a16="http://schemas.microsoft.com/office/drawing/2014/main" val="1441288228"/>
                    </a:ext>
                  </a:extLst>
                </a:gridCol>
                <a:gridCol w="514507">
                  <a:extLst>
                    <a:ext uri="{9D8B030D-6E8A-4147-A177-3AD203B41FA5}">
                      <a16:colId xmlns:a16="http://schemas.microsoft.com/office/drawing/2014/main" val="2968699232"/>
                    </a:ext>
                  </a:extLst>
                </a:gridCol>
                <a:gridCol w="514507">
                  <a:extLst>
                    <a:ext uri="{9D8B030D-6E8A-4147-A177-3AD203B41FA5}">
                      <a16:colId xmlns:a16="http://schemas.microsoft.com/office/drawing/2014/main" val="4157639691"/>
                    </a:ext>
                  </a:extLst>
                </a:gridCol>
                <a:gridCol w="514507">
                  <a:extLst>
                    <a:ext uri="{9D8B030D-6E8A-4147-A177-3AD203B41FA5}">
                      <a16:colId xmlns:a16="http://schemas.microsoft.com/office/drawing/2014/main" val="1485533640"/>
                    </a:ext>
                  </a:extLst>
                </a:gridCol>
                <a:gridCol w="707448">
                  <a:extLst>
                    <a:ext uri="{9D8B030D-6E8A-4147-A177-3AD203B41FA5}">
                      <a16:colId xmlns:a16="http://schemas.microsoft.com/office/drawing/2014/main" val="744455059"/>
                    </a:ext>
                  </a:extLst>
                </a:gridCol>
                <a:gridCol w="1077249">
                  <a:extLst>
                    <a:ext uri="{9D8B030D-6E8A-4147-A177-3AD203B41FA5}">
                      <a16:colId xmlns:a16="http://schemas.microsoft.com/office/drawing/2014/main" val="3134877106"/>
                    </a:ext>
                  </a:extLst>
                </a:gridCol>
                <a:gridCol w="667251">
                  <a:extLst>
                    <a:ext uri="{9D8B030D-6E8A-4147-A177-3AD203B41FA5}">
                      <a16:colId xmlns:a16="http://schemas.microsoft.com/office/drawing/2014/main" val="40923955"/>
                    </a:ext>
                  </a:extLst>
                </a:gridCol>
                <a:gridCol w="498428">
                  <a:extLst>
                    <a:ext uri="{9D8B030D-6E8A-4147-A177-3AD203B41FA5}">
                      <a16:colId xmlns:a16="http://schemas.microsoft.com/office/drawing/2014/main" val="1828362208"/>
                    </a:ext>
                  </a:extLst>
                </a:gridCol>
                <a:gridCol w="602939">
                  <a:extLst>
                    <a:ext uri="{9D8B030D-6E8A-4147-A177-3AD203B41FA5}">
                      <a16:colId xmlns:a16="http://schemas.microsoft.com/office/drawing/2014/main" val="572555347"/>
                    </a:ext>
                  </a:extLst>
                </a:gridCol>
                <a:gridCol w="1069211">
                  <a:extLst>
                    <a:ext uri="{9D8B030D-6E8A-4147-A177-3AD203B41FA5}">
                      <a16:colId xmlns:a16="http://schemas.microsoft.com/office/drawing/2014/main" val="729649513"/>
                    </a:ext>
                  </a:extLst>
                </a:gridCol>
                <a:gridCol w="699408">
                  <a:extLst>
                    <a:ext uri="{9D8B030D-6E8A-4147-A177-3AD203B41FA5}">
                      <a16:colId xmlns:a16="http://schemas.microsoft.com/office/drawing/2014/main" val="814313556"/>
                    </a:ext>
                  </a:extLst>
                </a:gridCol>
                <a:gridCol w="723526">
                  <a:extLst>
                    <a:ext uri="{9D8B030D-6E8A-4147-A177-3AD203B41FA5}">
                      <a16:colId xmlns:a16="http://schemas.microsoft.com/office/drawing/2014/main" val="923917706"/>
                    </a:ext>
                  </a:extLst>
                </a:gridCol>
                <a:gridCol w="610978">
                  <a:extLst>
                    <a:ext uri="{9D8B030D-6E8A-4147-A177-3AD203B41FA5}">
                      <a16:colId xmlns:a16="http://schemas.microsoft.com/office/drawing/2014/main" val="2491260187"/>
                    </a:ext>
                  </a:extLst>
                </a:gridCol>
                <a:gridCol w="586860">
                  <a:extLst>
                    <a:ext uri="{9D8B030D-6E8A-4147-A177-3AD203B41FA5}">
                      <a16:colId xmlns:a16="http://schemas.microsoft.com/office/drawing/2014/main" val="4003376179"/>
                    </a:ext>
                  </a:extLst>
                </a:gridCol>
                <a:gridCol w="514507">
                  <a:extLst>
                    <a:ext uri="{9D8B030D-6E8A-4147-A177-3AD203B41FA5}">
                      <a16:colId xmlns:a16="http://schemas.microsoft.com/office/drawing/2014/main" val="625146048"/>
                    </a:ext>
                  </a:extLst>
                </a:gridCol>
              </a:tblGrid>
              <a:tr h="244656">
                <a:tc gridSpan="16"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m Dec'22   MDV &amp; ICV Buses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729897"/>
                  </a:ext>
                </a:extLst>
              </a:tr>
              <a:tr h="185601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 NO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NCH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11"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CKET STATUS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TIV</a:t>
                      </a:r>
                    </a:p>
                  </a:txBody>
                  <a:tcPr marL="6675" marR="6675" marT="66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 </a:t>
                      </a:r>
                    </a:p>
                  </a:txBody>
                  <a:tcPr marL="6675" marR="6675" marT="66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ket Coverage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9686113"/>
                  </a:ext>
                </a:extLst>
              </a:tr>
              <a:tr h="185601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1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2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3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7"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4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5 [AL]</a:t>
                      </a:r>
                    </a:p>
                  </a:txBody>
                  <a:tcPr marL="6675" marR="6675" marT="667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2455129"/>
                  </a:ext>
                </a:extLst>
              </a:tr>
              <a:tr h="185601"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 LOYAL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RIVER PREFERENCE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OTIONAL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ANCE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CE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4 TOTAL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5269674"/>
                  </a:ext>
                </a:extLst>
              </a:tr>
              <a:tr h="16872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PME 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8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6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%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4283550"/>
                  </a:ext>
                </a:extLst>
              </a:tr>
              <a:tr h="16872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MADHAVARAM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4543664"/>
                  </a:ext>
                </a:extLst>
              </a:tr>
              <a:tr h="16872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PADAPPAI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%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1812048"/>
                  </a:ext>
                </a:extLst>
              </a:tr>
              <a:tr h="16872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VELLORE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%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90577"/>
                  </a:ext>
                </a:extLst>
              </a:tr>
              <a:tr h="16872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TV MALAI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DIV/0!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7138632"/>
                  </a:ext>
                </a:extLst>
              </a:tr>
              <a:tr h="168729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VILLUPURAM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%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9711789"/>
                  </a:ext>
                </a:extLst>
              </a:tr>
              <a:tr h="17716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VS PONDY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8580041"/>
                  </a:ext>
                </a:extLst>
              </a:tr>
              <a:tr h="185601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8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8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%</a:t>
                      </a:r>
                    </a:p>
                  </a:txBody>
                  <a:tcPr marL="6675" marR="6675" marT="667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186781"/>
                  </a:ext>
                </a:extLst>
              </a:tr>
              <a:tr h="185601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CENTAGE</a:t>
                      </a: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AAAA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%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75" marR="6675" marT="667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75" marR="6675" marT="667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26825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30839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5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heme5" id="{0FD1E945-0C04-4D29-98E2-341C4D14E449}" vid="{98A74680-365D-4711-A711-D2ADD621A207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5</Template>
  <TotalTime>17331</TotalTime>
  <Words>528</Words>
  <Application>Microsoft Office PowerPoint</Application>
  <PresentationFormat>Widescreen</PresentationFormat>
  <Paragraphs>650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Arial</vt:lpstr>
      <vt:lpstr>Calibri</vt:lpstr>
      <vt:lpstr>Times New Roman</vt:lpstr>
      <vt:lpstr>Theme5</vt:lpstr>
      <vt:lpstr>Custom Design</vt:lpstr>
      <vt:lpstr>think-cell Slide</vt:lpstr>
      <vt:lpstr>Image</vt:lpstr>
      <vt:lpstr>Microsoft Excel Worksheet</vt:lpstr>
      <vt:lpstr>Business Review  AO – CHENNAI 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  </vt:lpstr>
    </vt:vector>
  </TitlesOfParts>
  <Company>Ashokleyland Lt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Niveditha M (Vehicle Sales)</cp:lastModifiedBy>
  <cp:revision>370</cp:revision>
  <dcterms:created xsi:type="dcterms:W3CDTF">2018-06-07T10:25:13Z</dcterms:created>
  <dcterms:modified xsi:type="dcterms:W3CDTF">2023-01-05T10:23:48Z</dcterms:modified>
</cp:coreProperties>
</file>